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71076807177964E-2"/>
          <c:y val="0.11168769732724461"/>
          <c:w val="0.96052508475111475"/>
          <c:h val="0.815380355031391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42-4E6C-943F-4046B2DC7C9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42-4E6C-943F-4046B2DC7C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43437680"/>
        <c:axId val="144343864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442-4E6C-943F-4046B2DC7C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3455920"/>
        <c:axId val="1443455440"/>
      </c:lineChart>
      <c:catAx>
        <c:axId val="144343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8640"/>
        <c:crosses val="autoZero"/>
        <c:auto val="1"/>
        <c:lblAlgn val="ctr"/>
        <c:lblOffset val="100"/>
        <c:noMultiLvlLbl val="0"/>
      </c:catAx>
      <c:valAx>
        <c:axId val="1443438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37680"/>
        <c:crosses val="autoZero"/>
        <c:crossBetween val="between"/>
        <c:majorUnit val="1"/>
      </c:valAx>
      <c:valAx>
        <c:axId val="144345544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455920"/>
        <c:crosses val="max"/>
        <c:crossBetween val="between"/>
      </c:valAx>
      <c:catAx>
        <c:axId val="14434559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4345544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7836721380279377"/>
          <c:y val="1.3220266182657398E-2"/>
          <c:w val="0.42163278619720623"/>
          <c:h val="6.12286986438629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748364-AA0C-3F31-416C-EEB293B70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5C463E1-95EB-65DE-F713-78C5B46738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C463E1-95EB-65DE-F713-78C5B46738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30E97B4-0457-EE81-0021-51DFFEBAD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A22BCBCB-1E55-BF8C-A14B-525CAB5FEF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05E30C0D-BC8F-6A87-87F7-49F969952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ustered Column / Line Chart</a:t>
            </a:r>
            <a:endParaRPr lang="en-IN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01EC1B7-857F-AA0C-D810-F67CA4F89B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34" name="Chart Placeholder 16">
            <a:extLst>
              <a:ext uri="{FF2B5EF4-FFF2-40B4-BE49-F238E27FC236}">
                <a16:creationId xmlns:a16="http://schemas.microsoft.com/office/drawing/2014/main" id="{AF0D2BEA-2E08-9B8A-C940-FB5F7F7AEA79}"/>
              </a:ext>
            </a:extLst>
          </p:cNvPr>
          <p:cNvGraphicFramePr>
            <a:graphicFrameLocks/>
          </p:cNvGraphicFramePr>
          <p:nvPr/>
        </p:nvGraphicFramePr>
        <p:xfrm>
          <a:off x="554736" y="1720091"/>
          <a:ext cx="7014464" cy="4456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8944136F-5ACC-9456-D0C5-FF8A430A43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/>
          <a:lstStyle/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Nunc viverra imperdiet enim. Fusce est. Vivamus a </a:t>
            </a:r>
            <a:r>
              <a:rPr lang="en-US" dirty="0" err="1"/>
              <a:t>tellus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Pellentesque habitant morbi tristique senectus et netus et malesuada fames ac turpis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39291B9B-D371-9E2F-95D4-850F0C9B54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84609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9</TotalTime>
  <Words>86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Clustered Column / Line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84</cp:revision>
  <dcterms:created xsi:type="dcterms:W3CDTF">2025-07-09T10:57:17Z</dcterms:created>
  <dcterms:modified xsi:type="dcterms:W3CDTF">2025-10-22T09:54:12Z</dcterms:modified>
  <cp:category/>
</cp:coreProperties>
</file>